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66" r:id="rId2"/>
  </p:sldIdLst>
  <p:sldSz cx="7556500" cy="10693400"/>
  <p:notesSz cx="6858000" cy="9144000"/>
  <p:embeddedFontLst>
    <p:embeddedFont>
      <p:font typeface="Cabin" pitchFamily="2" charset="0"/>
      <p:regular r:id="rId3"/>
      <p:bold r:id="rId4"/>
      <p:italic r:id="rId5"/>
      <p:boldItalic r:id="rId6"/>
    </p:embeddedFont>
    <p:embeddedFont>
      <p:font typeface="Calibri" panose="020F0502020204030204" pitchFamily="34" charset="0"/>
      <p:regular r:id="rId7"/>
      <p:bold r:id="rId8"/>
      <p:italic r:id="rId9"/>
      <p:boldItalic r:id="rId10"/>
    </p:embeddedFont>
    <p:embeddedFont>
      <p:font typeface="Dosis ExtraBold" pitchFamily="2" charset="0"/>
      <p:bold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F7EF"/>
    <a:srgbClr val="FFEA97"/>
    <a:srgbClr val="FFFCED"/>
    <a:srgbClr val="FFF8E2"/>
    <a:srgbClr val="4D7389"/>
    <a:srgbClr val="FFFAF2"/>
    <a:srgbClr val="3B9F8D"/>
    <a:srgbClr val="991C1D"/>
    <a:srgbClr val="8F3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70" autoAdjust="0"/>
    <p:restoredTop sz="94622" autoAdjust="0"/>
  </p:normalViewPr>
  <p:slideViewPr>
    <p:cSldViewPr>
      <p:cViewPr varScale="1">
        <p:scale>
          <a:sx n="68" d="100"/>
          <a:sy n="68" d="100"/>
        </p:scale>
        <p:origin x="3294" y="9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ableStyles" Target="tableStyle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368" userDrawn="1">
          <p15:clr>
            <a:srgbClr val="FBAE40"/>
          </p15:clr>
        </p15:guide>
        <p15:guide id="2" pos="2380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9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368" userDrawn="1">
          <p15:clr>
            <a:srgbClr val="F26B43"/>
          </p15:clr>
        </p15:guide>
        <p15:guide id="2" pos="23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1.png"/><Relationship Id="rId18" Type="http://schemas.openxmlformats.org/officeDocument/2006/relationships/image" Target="../media/image16.svg"/><Relationship Id="rId26" Type="http://schemas.openxmlformats.org/officeDocument/2006/relationships/image" Target="../media/image24.svg"/><Relationship Id="rId39" Type="http://schemas.openxmlformats.org/officeDocument/2006/relationships/image" Target="../media/image37.png"/><Relationship Id="rId21" Type="http://schemas.openxmlformats.org/officeDocument/2006/relationships/image" Target="../media/image19.png"/><Relationship Id="rId34" Type="http://schemas.openxmlformats.org/officeDocument/2006/relationships/image" Target="../media/image32.svg"/><Relationship Id="rId42" Type="http://schemas.openxmlformats.org/officeDocument/2006/relationships/image" Target="../media/image40.sv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7.xml"/><Relationship Id="rId16" Type="http://schemas.openxmlformats.org/officeDocument/2006/relationships/image" Target="../media/image14.svg"/><Relationship Id="rId20" Type="http://schemas.openxmlformats.org/officeDocument/2006/relationships/image" Target="../media/image18.svg"/><Relationship Id="rId29" Type="http://schemas.openxmlformats.org/officeDocument/2006/relationships/image" Target="../media/image27.png"/><Relationship Id="rId41" Type="http://schemas.openxmlformats.org/officeDocument/2006/relationships/image" Target="../media/image39.png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11" Type="http://schemas.openxmlformats.org/officeDocument/2006/relationships/image" Target="../media/image9.png"/><Relationship Id="rId24" Type="http://schemas.openxmlformats.org/officeDocument/2006/relationships/image" Target="../media/image22.svg"/><Relationship Id="rId32" Type="http://schemas.openxmlformats.org/officeDocument/2006/relationships/image" Target="../media/image30.svg"/><Relationship Id="rId37" Type="http://schemas.openxmlformats.org/officeDocument/2006/relationships/image" Target="../media/image35.png"/><Relationship Id="rId40" Type="http://schemas.openxmlformats.org/officeDocument/2006/relationships/image" Target="../media/image38.svg"/><Relationship Id="rId5" Type="http://schemas.openxmlformats.org/officeDocument/2006/relationships/image" Target="../media/image3.png"/><Relationship Id="rId15" Type="http://schemas.openxmlformats.org/officeDocument/2006/relationships/image" Target="../media/image13.png"/><Relationship Id="rId23" Type="http://schemas.openxmlformats.org/officeDocument/2006/relationships/image" Target="../media/image21.png"/><Relationship Id="rId28" Type="http://schemas.openxmlformats.org/officeDocument/2006/relationships/image" Target="../media/image26.svg"/><Relationship Id="rId36" Type="http://schemas.openxmlformats.org/officeDocument/2006/relationships/image" Target="../media/image34.svg"/><Relationship Id="rId10" Type="http://schemas.openxmlformats.org/officeDocument/2006/relationships/image" Target="../media/image8.svg"/><Relationship Id="rId19" Type="http://schemas.openxmlformats.org/officeDocument/2006/relationships/image" Target="../media/image17.png"/><Relationship Id="rId31" Type="http://schemas.openxmlformats.org/officeDocument/2006/relationships/image" Target="../media/image29.png"/><Relationship Id="rId4" Type="http://schemas.openxmlformats.org/officeDocument/2006/relationships/image" Target="../media/image2.svg"/><Relationship Id="rId9" Type="http://schemas.openxmlformats.org/officeDocument/2006/relationships/image" Target="../media/image7.png"/><Relationship Id="rId14" Type="http://schemas.openxmlformats.org/officeDocument/2006/relationships/image" Target="../media/image12.svg"/><Relationship Id="rId22" Type="http://schemas.openxmlformats.org/officeDocument/2006/relationships/image" Target="../media/image20.svg"/><Relationship Id="rId27" Type="http://schemas.openxmlformats.org/officeDocument/2006/relationships/image" Target="../media/image25.png"/><Relationship Id="rId30" Type="http://schemas.openxmlformats.org/officeDocument/2006/relationships/image" Target="../media/image28.svg"/><Relationship Id="rId35" Type="http://schemas.openxmlformats.org/officeDocument/2006/relationships/image" Target="../media/image33.png"/><Relationship Id="rId8" Type="http://schemas.openxmlformats.org/officeDocument/2006/relationships/image" Target="../media/image6.svg"/><Relationship Id="rId3" Type="http://schemas.openxmlformats.org/officeDocument/2006/relationships/image" Target="../media/image1.png"/><Relationship Id="rId12" Type="http://schemas.openxmlformats.org/officeDocument/2006/relationships/image" Target="../media/image10.svg"/><Relationship Id="rId17" Type="http://schemas.openxmlformats.org/officeDocument/2006/relationships/image" Target="../media/image15.png"/><Relationship Id="rId25" Type="http://schemas.openxmlformats.org/officeDocument/2006/relationships/image" Target="../media/image23.png"/><Relationship Id="rId33" Type="http://schemas.openxmlformats.org/officeDocument/2006/relationships/image" Target="../media/image31.png"/><Relationship Id="rId38" Type="http://schemas.openxmlformats.org/officeDocument/2006/relationships/image" Target="../media/image36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EA9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Freeform: Shape 73">
            <a:extLst>
              <a:ext uri="{FF2B5EF4-FFF2-40B4-BE49-F238E27FC236}">
                <a16:creationId xmlns:a16="http://schemas.microsoft.com/office/drawing/2014/main" id="{D8BD8251-F56D-94BC-DEC7-464E3F5BC0FE}"/>
              </a:ext>
            </a:extLst>
          </p:cNvPr>
          <p:cNvSpPr/>
          <p:nvPr/>
        </p:nvSpPr>
        <p:spPr>
          <a:xfrm rot="1843507">
            <a:off x="-58904" y="-61628"/>
            <a:ext cx="780793" cy="888903"/>
          </a:xfrm>
          <a:custGeom>
            <a:avLst/>
            <a:gdLst>
              <a:gd name="connsiteX0" fmla="*/ 0 w 780793"/>
              <a:gd name="connsiteY0" fmla="*/ 0 h 888903"/>
              <a:gd name="connsiteX1" fmla="*/ 780793 w 780793"/>
              <a:gd name="connsiteY1" fmla="*/ 0 h 888903"/>
              <a:gd name="connsiteX2" fmla="*/ 780793 w 780793"/>
              <a:gd name="connsiteY2" fmla="*/ 888903 h 888903"/>
              <a:gd name="connsiteX3" fmla="*/ 267563 w 780793"/>
              <a:gd name="connsiteY3" fmla="*/ 888903 h 888903"/>
              <a:gd name="connsiteX4" fmla="*/ 0 w 780793"/>
              <a:gd name="connsiteY4" fmla="*/ 438726 h 8889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793" h="888903">
                <a:moveTo>
                  <a:pt x="0" y="0"/>
                </a:moveTo>
                <a:lnTo>
                  <a:pt x="780793" y="0"/>
                </a:lnTo>
                <a:lnTo>
                  <a:pt x="780793" y="888903"/>
                </a:lnTo>
                <a:lnTo>
                  <a:pt x="267563" y="888903"/>
                </a:lnTo>
                <a:lnTo>
                  <a:pt x="0" y="438726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 l="-59032" t="-45767" r="-52866" b="-33591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6" name="Freeform: Shape 75">
            <a:extLst>
              <a:ext uri="{FF2B5EF4-FFF2-40B4-BE49-F238E27FC236}">
                <a16:creationId xmlns:a16="http://schemas.microsoft.com/office/drawing/2014/main" id="{A6FE10E7-4E6E-734C-F67F-4145BCA7AA70}"/>
              </a:ext>
            </a:extLst>
          </p:cNvPr>
          <p:cNvSpPr/>
          <p:nvPr/>
        </p:nvSpPr>
        <p:spPr>
          <a:xfrm rot="20586745">
            <a:off x="-122017" y="2007209"/>
            <a:ext cx="646351" cy="736001"/>
          </a:xfrm>
          <a:custGeom>
            <a:avLst/>
            <a:gdLst>
              <a:gd name="connsiteX0" fmla="*/ 646351 w 646351"/>
              <a:gd name="connsiteY0" fmla="*/ 0 h 736001"/>
              <a:gd name="connsiteX1" fmla="*/ 646351 w 646351"/>
              <a:gd name="connsiteY1" fmla="*/ 736001 h 736001"/>
              <a:gd name="connsiteX2" fmla="*/ 0 w 646351"/>
              <a:gd name="connsiteY2" fmla="*/ 736001 h 736001"/>
              <a:gd name="connsiteX3" fmla="*/ 223440 w 646351"/>
              <a:gd name="connsiteY3" fmla="*/ 0 h 736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6351" h="736001">
                <a:moveTo>
                  <a:pt x="646351" y="0"/>
                </a:moveTo>
                <a:lnTo>
                  <a:pt x="646351" y="736001"/>
                </a:lnTo>
                <a:lnTo>
                  <a:pt x="0" y="736001"/>
                </a:lnTo>
                <a:lnTo>
                  <a:pt x="223440" y="0"/>
                </a:lnTo>
                <a:close/>
              </a:path>
            </a:pathLst>
          </a:custGeo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 l="-78366" t="-50533" r="-40259" b="-41822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8" name="Freeform: Shape 77">
            <a:extLst>
              <a:ext uri="{FF2B5EF4-FFF2-40B4-BE49-F238E27FC236}">
                <a16:creationId xmlns:a16="http://schemas.microsoft.com/office/drawing/2014/main" id="{180515F8-3F4C-34C0-498D-D79C8B3D3416}"/>
              </a:ext>
            </a:extLst>
          </p:cNvPr>
          <p:cNvSpPr/>
          <p:nvPr/>
        </p:nvSpPr>
        <p:spPr>
          <a:xfrm>
            <a:off x="0" y="4346371"/>
            <a:ext cx="420000" cy="664892"/>
          </a:xfrm>
          <a:custGeom>
            <a:avLst/>
            <a:gdLst>
              <a:gd name="connsiteX0" fmla="*/ 0 w 420000"/>
              <a:gd name="connsiteY0" fmla="*/ 0 h 664892"/>
              <a:gd name="connsiteX1" fmla="*/ 420000 w 420000"/>
              <a:gd name="connsiteY1" fmla="*/ 0 h 664892"/>
              <a:gd name="connsiteX2" fmla="*/ 420000 w 420000"/>
              <a:gd name="connsiteY2" fmla="*/ 664892 h 664892"/>
              <a:gd name="connsiteX3" fmla="*/ 0 w 420000"/>
              <a:gd name="connsiteY3" fmla="*/ 664892 h 664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0000" h="664892">
                <a:moveTo>
                  <a:pt x="0" y="0"/>
                </a:moveTo>
                <a:lnTo>
                  <a:pt x="420000" y="0"/>
                </a:lnTo>
                <a:lnTo>
                  <a:pt x="420000" y="664892"/>
                </a:lnTo>
                <a:lnTo>
                  <a:pt x="0" y="664892"/>
                </a:lnTo>
                <a:close/>
              </a:path>
            </a:pathLst>
          </a:custGeo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 l="-83398" t="-52747" r="-54074" b="-42437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0" name="Freeform: Shape 79">
            <a:extLst>
              <a:ext uri="{FF2B5EF4-FFF2-40B4-BE49-F238E27FC236}">
                <a16:creationId xmlns:a16="http://schemas.microsoft.com/office/drawing/2014/main" id="{B087EEC3-45D1-8E8B-5FA2-BE929E491523}"/>
              </a:ext>
            </a:extLst>
          </p:cNvPr>
          <p:cNvSpPr/>
          <p:nvPr/>
        </p:nvSpPr>
        <p:spPr>
          <a:xfrm rot="20417449">
            <a:off x="-120647" y="6165452"/>
            <a:ext cx="619067" cy="691899"/>
          </a:xfrm>
          <a:custGeom>
            <a:avLst/>
            <a:gdLst>
              <a:gd name="connsiteX0" fmla="*/ 619067 w 619067"/>
              <a:gd name="connsiteY0" fmla="*/ 0 h 691899"/>
              <a:gd name="connsiteX1" fmla="*/ 619067 w 619067"/>
              <a:gd name="connsiteY1" fmla="*/ 691899 h 691899"/>
              <a:gd name="connsiteX2" fmla="*/ 0 w 619067"/>
              <a:gd name="connsiteY2" fmla="*/ 691899 h 691899"/>
              <a:gd name="connsiteX3" fmla="*/ 0 w 619067"/>
              <a:gd name="connsiteY3" fmla="*/ 646428 h 691899"/>
              <a:gd name="connsiteX4" fmla="*/ 231572 w 619067"/>
              <a:gd name="connsiteY4" fmla="*/ 0 h 6918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9067" h="691899">
                <a:moveTo>
                  <a:pt x="619067" y="0"/>
                </a:moveTo>
                <a:lnTo>
                  <a:pt x="619067" y="691899"/>
                </a:lnTo>
                <a:lnTo>
                  <a:pt x="0" y="691899"/>
                </a:lnTo>
                <a:lnTo>
                  <a:pt x="0" y="646428"/>
                </a:lnTo>
                <a:lnTo>
                  <a:pt x="231572" y="0"/>
                </a:lnTo>
                <a:close/>
              </a:path>
            </a:pathLst>
          </a:custGeom>
          <a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 l="-71133" t="-40616" r="-31416" b="-34023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2" name="Freeform: Shape 81">
            <a:extLst>
              <a:ext uri="{FF2B5EF4-FFF2-40B4-BE49-F238E27FC236}">
                <a16:creationId xmlns:a16="http://schemas.microsoft.com/office/drawing/2014/main" id="{6DEB24D5-6443-132E-53F4-4829EB84AF70}"/>
              </a:ext>
            </a:extLst>
          </p:cNvPr>
          <p:cNvSpPr/>
          <p:nvPr/>
        </p:nvSpPr>
        <p:spPr>
          <a:xfrm rot="1200842">
            <a:off x="-118132" y="8335250"/>
            <a:ext cx="643019" cy="724578"/>
          </a:xfrm>
          <a:custGeom>
            <a:avLst/>
            <a:gdLst>
              <a:gd name="connsiteX0" fmla="*/ 0 w 643019"/>
              <a:gd name="connsiteY0" fmla="*/ 0 h 724578"/>
              <a:gd name="connsiteX1" fmla="*/ 643019 w 643019"/>
              <a:gd name="connsiteY1" fmla="*/ 0 h 724578"/>
              <a:gd name="connsiteX2" fmla="*/ 643019 w 643019"/>
              <a:gd name="connsiteY2" fmla="*/ 724578 h 724578"/>
              <a:gd name="connsiteX3" fmla="*/ 235769 w 643019"/>
              <a:gd name="connsiteY3" fmla="*/ 724578 h 724578"/>
              <a:gd name="connsiteX4" fmla="*/ 0 w 643019"/>
              <a:gd name="connsiteY4" fmla="*/ 77300 h 7245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3019" h="724578">
                <a:moveTo>
                  <a:pt x="0" y="0"/>
                </a:moveTo>
                <a:lnTo>
                  <a:pt x="643019" y="0"/>
                </a:lnTo>
                <a:lnTo>
                  <a:pt x="643019" y="724578"/>
                </a:lnTo>
                <a:lnTo>
                  <a:pt x="235769" y="724578"/>
                </a:lnTo>
                <a:lnTo>
                  <a:pt x="0" y="77300"/>
                </a:lnTo>
                <a:close/>
              </a:path>
            </a:pathLst>
          </a:custGeom>
          <a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 l="-71256" t="-47298" r="-45953" b="-38452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4" name="Freeform: Shape 83">
            <a:extLst>
              <a:ext uri="{FF2B5EF4-FFF2-40B4-BE49-F238E27FC236}">
                <a16:creationId xmlns:a16="http://schemas.microsoft.com/office/drawing/2014/main" id="{B890A7C0-5655-FB22-F30B-474A85B797D1}"/>
              </a:ext>
            </a:extLst>
          </p:cNvPr>
          <p:cNvSpPr/>
          <p:nvPr/>
        </p:nvSpPr>
        <p:spPr>
          <a:xfrm>
            <a:off x="0" y="10207129"/>
            <a:ext cx="575172" cy="611120"/>
          </a:xfrm>
          <a:custGeom>
            <a:avLst/>
            <a:gdLst>
              <a:gd name="connsiteX0" fmla="*/ 0 w 575172"/>
              <a:gd name="connsiteY0" fmla="*/ 0 h 611120"/>
              <a:gd name="connsiteX1" fmla="*/ 575172 w 575172"/>
              <a:gd name="connsiteY1" fmla="*/ 0 h 611120"/>
              <a:gd name="connsiteX2" fmla="*/ 575172 w 575172"/>
              <a:gd name="connsiteY2" fmla="*/ 611120 h 611120"/>
              <a:gd name="connsiteX3" fmla="*/ 555603 w 575172"/>
              <a:gd name="connsiteY3" fmla="*/ 611120 h 611120"/>
              <a:gd name="connsiteX4" fmla="*/ 555603 w 575172"/>
              <a:gd name="connsiteY4" fmla="*/ 486271 h 611120"/>
              <a:gd name="connsiteX5" fmla="*/ 0 w 575172"/>
              <a:gd name="connsiteY5" fmla="*/ 486271 h 6111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75172" h="611120">
                <a:moveTo>
                  <a:pt x="0" y="0"/>
                </a:moveTo>
                <a:lnTo>
                  <a:pt x="575172" y="0"/>
                </a:lnTo>
                <a:lnTo>
                  <a:pt x="575172" y="611120"/>
                </a:lnTo>
                <a:lnTo>
                  <a:pt x="555603" y="611120"/>
                </a:lnTo>
                <a:lnTo>
                  <a:pt x="555603" y="486271"/>
                </a:lnTo>
                <a:lnTo>
                  <a:pt x="0" y="486271"/>
                </a:lnTo>
                <a:close/>
              </a:path>
            </a:pathLst>
          </a:custGeom>
          <a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 l="-75424" t="-53308" r="-39785" b="-41876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6" name="Freeform: Shape 85">
            <a:extLst>
              <a:ext uri="{FF2B5EF4-FFF2-40B4-BE49-F238E27FC236}">
                <a16:creationId xmlns:a16="http://schemas.microsoft.com/office/drawing/2014/main" id="{1138BFDD-6804-BC86-1633-16173F98854B}"/>
              </a:ext>
            </a:extLst>
          </p:cNvPr>
          <p:cNvSpPr/>
          <p:nvPr/>
        </p:nvSpPr>
        <p:spPr>
          <a:xfrm rot="20625048">
            <a:off x="1578132" y="10304044"/>
            <a:ext cx="514644" cy="470761"/>
          </a:xfrm>
          <a:custGeom>
            <a:avLst/>
            <a:gdLst>
              <a:gd name="connsiteX0" fmla="*/ 514644 w 514644"/>
              <a:gd name="connsiteY0" fmla="*/ 0 h 470761"/>
              <a:gd name="connsiteX1" fmla="*/ 514644 w 514644"/>
              <a:gd name="connsiteY1" fmla="*/ 470761 h 470761"/>
              <a:gd name="connsiteX2" fmla="*/ 0 w 514644"/>
              <a:gd name="connsiteY2" fmla="*/ 320764 h 470761"/>
              <a:gd name="connsiteX3" fmla="*/ 0 w 514644"/>
              <a:gd name="connsiteY3" fmla="*/ 0 h 4707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4644" h="470761">
                <a:moveTo>
                  <a:pt x="514644" y="0"/>
                </a:moveTo>
                <a:lnTo>
                  <a:pt x="514644" y="470761"/>
                </a:lnTo>
                <a:lnTo>
                  <a:pt x="0" y="320764"/>
                </a:lnTo>
                <a:lnTo>
                  <a:pt x="0" y="0"/>
                </a:lnTo>
                <a:close/>
              </a:path>
            </a:pathLst>
          </a:custGeom>
          <a:blipFill>
            <a:blip r:embed="rId15">
              <a:extLs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 l="-50562" t="-33985" r="-58126" b="-27875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88" name="Freeform: Shape 87">
            <a:extLst>
              <a:ext uri="{FF2B5EF4-FFF2-40B4-BE49-F238E27FC236}">
                <a16:creationId xmlns:a16="http://schemas.microsoft.com/office/drawing/2014/main" id="{F056EDC5-01FE-B8BF-84AF-206C92507D2E}"/>
              </a:ext>
            </a:extLst>
          </p:cNvPr>
          <p:cNvSpPr/>
          <p:nvPr/>
        </p:nvSpPr>
        <p:spPr>
          <a:xfrm>
            <a:off x="3567602" y="10334655"/>
            <a:ext cx="424796" cy="392724"/>
          </a:xfrm>
          <a:custGeom>
            <a:avLst/>
            <a:gdLst>
              <a:gd name="connsiteX0" fmla="*/ 0 w 424796"/>
              <a:gd name="connsiteY0" fmla="*/ 0 h 392724"/>
              <a:gd name="connsiteX1" fmla="*/ 424796 w 424796"/>
              <a:gd name="connsiteY1" fmla="*/ 0 h 392724"/>
              <a:gd name="connsiteX2" fmla="*/ 424796 w 424796"/>
              <a:gd name="connsiteY2" fmla="*/ 392724 h 392724"/>
              <a:gd name="connsiteX3" fmla="*/ 0 w 424796"/>
              <a:gd name="connsiteY3" fmla="*/ 392724 h 3927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4796" h="392724">
                <a:moveTo>
                  <a:pt x="0" y="0"/>
                </a:moveTo>
                <a:lnTo>
                  <a:pt x="424796" y="0"/>
                </a:lnTo>
                <a:lnTo>
                  <a:pt x="424796" y="392724"/>
                </a:lnTo>
                <a:lnTo>
                  <a:pt x="0" y="392724"/>
                </a:lnTo>
                <a:close/>
              </a:path>
            </a:pathLst>
          </a:custGeom>
          <a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 l="-69210" t="-39300" r="-36363" b="-35338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98" name="Freeform: Shape 97">
            <a:extLst>
              <a:ext uri="{FF2B5EF4-FFF2-40B4-BE49-F238E27FC236}">
                <a16:creationId xmlns:a16="http://schemas.microsoft.com/office/drawing/2014/main" id="{130D0D31-A1EE-0139-0B7D-AF87C95EE6D7}"/>
              </a:ext>
            </a:extLst>
          </p:cNvPr>
          <p:cNvSpPr/>
          <p:nvPr/>
        </p:nvSpPr>
        <p:spPr>
          <a:xfrm rot="1318238">
            <a:off x="5553285" y="10334841"/>
            <a:ext cx="287943" cy="413528"/>
          </a:xfrm>
          <a:custGeom>
            <a:avLst/>
            <a:gdLst>
              <a:gd name="connsiteX0" fmla="*/ 0 w 287943"/>
              <a:gd name="connsiteY0" fmla="*/ 0 h 413528"/>
              <a:gd name="connsiteX1" fmla="*/ 287943 w 287943"/>
              <a:gd name="connsiteY1" fmla="*/ 0 h 413528"/>
              <a:gd name="connsiteX2" fmla="*/ 287943 w 287943"/>
              <a:gd name="connsiteY2" fmla="*/ 313156 h 413528"/>
              <a:gd name="connsiteX3" fmla="*/ 39147 w 287943"/>
              <a:gd name="connsiteY3" fmla="*/ 413528 h 413528"/>
              <a:gd name="connsiteX4" fmla="*/ 0 w 287943"/>
              <a:gd name="connsiteY4" fmla="*/ 413528 h 4135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87943" h="413528">
                <a:moveTo>
                  <a:pt x="0" y="0"/>
                </a:moveTo>
                <a:lnTo>
                  <a:pt x="287943" y="0"/>
                </a:lnTo>
                <a:lnTo>
                  <a:pt x="287943" y="313156"/>
                </a:lnTo>
                <a:lnTo>
                  <a:pt x="39147" y="413528"/>
                </a:lnTo>
                <a:lnTo>
                  <a:pt x="0" y="413528"/>
                </a:lnTo>
                <a:close/>
              </a:path>
            </a:pathLst>
          </a:custGeom>
          <a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 l="-95614" t="-48067" r="-94923" b="-46880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 rot="20821590">
            <a:off x="7015796" y="10061209"/>
            <a:ext cx="537358" cy="625449"/>
          </a:xfrm>
          <a:custGeom>
            <a:avLst/>
            <a:gdLst/>
            <a:ahLst/>
            <a:cxnLst/>
            <a:rect l="l" t="t" r="r" b="b"/>
            <a:pathLst>
              <a:path w="537358" h="625449">
                <a:moveTo>
                  <a:pt x="0" y="0"/>
                </a:moveTo>
                <a:lnTo>
                  <a:pt x="537358" y="0"/>
                </a:lnTo>
                <a:lnTo>
                  <a:pt x="537358" y="625450"/>
                </a:lnTo>
                <a:lnTo>
                  <a:pt x="0" y="625450"/>
                </a:lnTo>
                <a:lnTo>
                  <a:pt x="0" y="0"/>
                </a:lnTo>
                <a:close/>
              </a:path>
            </a:pathLst>
          </a:custGeom>
          <a:blipFill>
            <a:blip r:embed="rId21">
              <a:extLst>
                <a:ext uri="{96DAC541-7B7A-43D3-8B79-37D633B846F1}">
                  <asvg:svgBlip xmlns:asvg="http://schemas.microsoft.com/office/drawing/2016/SVG/main" r:embed="rId22"/>
                </a:ext>
              </a:extLst>
            </a:blip>
            <a:stretch>
              <a:fillRect l="-57985" t="-46293" r="-67808" b="-40644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9" name="Freeform: Shape 98">
            <a:extLst>
              <a:ext uri="{FF2B5EF4-FFF2-40B4-BE49-F238E27FC236}">
                <a16:creationId xmlns:a16="http://schemas.microsoft.com/office/drawing/2014/main" id="{99FC23FF-A963-11A2-D6A6-137F936B0FCC}"/>
              </a:ext>
            </a:extLst>
          </p:cNvPr>
          <p:cNvSpPr/>
          <p:nvPr/>
        </p:nvSpPr>
        <p:spPr>
          <a:xfrm rot="20811170">
            <a:off x="7091539" y="8572354"/>
            <a:ext cx="550826" cy="676793"/>
          </a:xfrm>
          <a:custGeom>
            <a:avLst/>
            <a:gdLst>
              <a:gd name="connsiteX0" fmla="*/ 550826 w 550826"/>
              <a:gd name="connsiteY0" fmla="*/ 0 h 676793"/>
              <a:gd name="connsiteX1" fmla="*/ 392744 w 550826"/>
              <a:gd name="connsiteY1" fmla="*/ 676792 h 676793"/>
              <a:gd name="connsiteX2" fmla="*/ 0 w 550826"/>
              <a:gd name="connsiteY2" fmla="*/ 676793 h 676793"/>
              <a:gd name="connsiteX3" fmla="*/ 0 w 550826"/>
              <a:gd name="connsiteY3" fmla="*/ 0 h 676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0826" h="676793">
                <a:moveTo>
                  <a:pt x="550826" y="0"/>
                </a:moveTo>
                <a:lnTo>
                  <a:pt x="392744" y="676792"/>
                </a:lnTo>
                <a:lnTo>
                  <a:pt x="0" y="676793"/>
                </a:lnTo>
                <a:lnTo>
                  <a:pt x="0" y="0"/>
                </a:lnTo>
                <a:close/>
              </a:path>
            </a:pathLst>
          </a:custGeom>
          <a:blipFill>
            <a:blip r:embed="rId23">
              <a:extLst>
                <a:ext uri="{96DAC541-7B7A-43D3-8B79-37D633B846F1}">
                  <asvg:svgBlip xmlns:asvg="http://schemas.microsoft.com/office/drawing/2016/SVG/main" r:embed="rId24"/>
                </a:ext>
              </a:extLst>
            </a:blip>
            <a:stretch>
              <a:fillRect l="-68263" t="-57606" r="-43635" b="-49777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3" name="Freeform 13"/>
          <p:cNvSpPr/>
          <p:nvPr/>
        </p:nvSpPr>
        <p:spPr>
          <a:xfrm rot="1814514">
            <a:off x="7101986" y="6238471"/>
            <a:ext cx="620355" cy="788587"/>
          </a:xfrm>
          <a:custGeom>
            <a:avLst/>
            <a:gdLst/>
            <a:ahLst/>
            <a:cxnLst/>
            <a:rect l="l" t="t" r="r" b="b"/>
            <a:pathLst>
              <a:path w="620355" h="788587">
                <a:moveTo>
                  <a:pt x="0" y="0"/>
                </a:moveTo>
                <a:lnTo>
                  <a:pt x="620356" y="0"/>
                </a:lnTo>
                <a:lnTo>
                  <a:pt x="620356" y="788588"/>
                </a:lnTo>
                <a:lnTo>
                  <a:pt x="0" y="788588"/>
                </a:lnTo>
                <a:lnTo>
                  <a:pt x="0" y="0"/>
                </a:lnTo>
                <a:close/>
              </a:path>
            </a:pathLst>
          </a:custGeom>
          <a:blipFill>
            <a:blip r:embed="rId25">
              <a:extLst>
                <a:ext uri="{96DAC541-7B7A-43D3-8B79-37D633B846F1}">
                  <asvg:svgBlip xmlns:asvg="http://schemas.microsoft.com/office/drawing/2016/SVG/main" r:embed="rId26"/>
                </a:ext>
              </a:extLst>
            </a:blip>
            <a:stretch>
              <a:fillRect l="-88983" t="-39824" r="-44465" b="-37143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4" name="Freeform 14"/>
          <p:cNvSpPr/>
          <p:nvPr/>
        </p:nvSpPr>
        <p:spPr>
          <a:xfrm>
            <a:off x="7137907" y="4306193"/>
            <a:ext cx="418594" cy="705070"/>
          </a:xfrm>
          <a:custGeom>
            <a:avLst/>
            <a:gdLst/>
            <a:ahLst/>
            <a:cxnLst/>
            <a:rect l="l" t="t" r="r" b="b"/>
            <a:pathLst>
              <a:path w="637461" h="705070">
                <a:moveTo>
                  <a:pt x="0" y="0"/>
                </a:moveTo>
                <a:lnTo>
                  <a:pt x="637460" y="0"/>
                </a:lnTo>
                <a:lnTo>
                  <a:pt x="637460" y="705070"/>
                </a:lnTo>
                <a:lnTo>
                  <a:pt x="0" y="705070"/>
                </a:lnTo>
                <a:lnTo>
                  <a:pt x="0" y="0"/>
                </a:lnTo>
                <a:close/>
              </a:path>
            </a:pathLst>
          </a:custGeom>
          <a:blipFill>
            <a:blip r:embed="rId27">
              <a:extLst>
                <a:ext uri="{96DAC541-7B7A-43D3-8B79-37D633B846F1}">
                  <asvg:svgBlip xmlns:asvg="http://schemas.microsoft.com/office/drawing/2016/SVG/main" r:embed="rId28"/>
                </a:ext>
              </a:extLst>
            </a:blip>
            <a:stretch>
              <a:fillRect l="-108446" t="-45108" r="-109357" b="-36707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0" name="Freeform: Shape 99">
            <a:extLst>
              <a:ext uri="{FF2B5EF4-FFF2-40B4-BE49-F238E27FC236}">
                <a16:creationId xmlns:a16="http://schemas.microsoft.com/office/drawing/2014/main" id="{E2E80CF1-F1B3-19A6-0818-EC6DC8BBBC47}"/>
              </a:ext>
            </a:extLst>
          </p:cNvPr>
          <p:cNvSpPr/>
          <p:nvPr/>
        </p:nvSpPr>
        <p:spPr>
          <a:xfrm rot="20774487">
            <a:off x="7099621" y="2569967"/>
            <a:ext cx="546727" cy="689589"/>
          </a:xfrm>
          <a:custGeom>
            <a:avLst/>
            <a:gdLst>
              <a:gd name="connsiteX0" fmla="*/ 546727 w 546727"/>
              <a:gd name="connsiteY0" fmla="*/ 0 h 689589"/>
              <a:gd name="connsiteX1" fmla="*/ 377876 w 546727"/>
              <a:gd name="connsiteY1" fmla="*/ 689589 h 689589"/>
              <a:gd name="connsiteX2" fmla="*/ 0 w 546727"/>
              <a:gd name="connsiteY2" fmla="*/ 689589 h 689589"/>
              <a:gd name="connsiteX3" fmla="*/ 0 w 546727"/>
              <a:gd name="connsiteY3" fmla="*/ 0 h 6895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6727" h="689589">
                <a:moveTo>
                  <a:pt x="546727" y="0"/>
                </a:moveTo>
                <a:lnTo>
                  <a:pt x="377876" y="689589"/>
                </a:lnTo>
                <a:lnTo>
                  <a:pt x="0" y="689589"/>
                </a:lnTo>
                <a:lnTo>
                  <a:pt x="0" y="0"/>
                </a:lnTo>
                <a:close/>
              </a:path>
            </a:pathLst>
          </a:custGeom>
          <a:blipFill>
            <a:blip r:embed="rId29">
              <a:extLst>
                <a:ext uri="{96DAC541-7B7A-43D3-8B79-37D633B846F1}">
                  <asvg:svgBlip xmlns:asvg="http://schemas.microsoft.com/office/drawing/2016/SVG/main" r:embed="rId30"/>
                </a:ext>
              </a:extLst>
            </a:blip>
            <a:stretch>
              <a:fillRect l="-48453" t="-43824" r="-40223" b="-33143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6" name="Freeform 16"/>
          <p:cNvSpPr/>
          <p:nvPr/>
        </p:nvSpPr>
        <p:spPr>
          <a:xfrm>
            <a:off x="6736245" y="0"/>
            <a:ext cx="820255" cy="964348"/>
          </a:xfrm>
          <a:custGeom>
            <a:avLst/>
            <a:gdLst/>
            <a:ahLst/>
            <a:cxnLst/>
            <a:rect l="l" t="t" r="r" b="b"/>
            <a:pathLst>
              <a:path w="1110152" h="1362460">
                <a:moveTo>
                  <a:pt x="0" y="0"/>
                </a:moveTo>
                <a:lnTo>
                  <a:pt x="1110152" y="0"/>
                </a:lnTo>
                <a:lnTo>
                  <a:pt x="1110152" y="1362460"/>
                </a:lnTo>
                <a:lnTo>
                  <a:pt x="0" y="1362460"/>
                </a:lnTo>
                <a:lnTo>
                  <a:pt x="0" y="0"/>
                </a:lnTo>
                <a:close/>
              </a:path>
            </a:pathLst>
          </a:custGeom>
          <a:blipFill>
            <a:blip r:embed="rId31">
              <a:extLst>
                <a:ext uri="{96DAC541-7B7A-43D3-8B79-37D633B846F1}">
                  <asvg:svgBlip xmlns:asvg="http://schemas.microsoft.com/office/drawing/2016/SVG/main" r:embed="rId32"/>
                </a:ext>
              </a:extLst>
            </a:blip>
            <a:stretch>
              <a:fillRect l="-86887" t="-88147" r="-95555" b="-43357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1" name="Freeform: Shape 100">
            <a:extLst>
              <a:ext uri="{FF2B5EF4-FFF2-40B4-BE49-F238E27FC236}">
                <a16:creationId xmlns:a16="http://schemas.microsoft.com/office/drawing/2014/main" id="{7EB4ED09-FF91-A821-117D-1EB3208D02F7}"/>
              </a:ext>
            </a:extLst>
          </p:cNvPr>
          <p:cNvSpPr/>
          <p:nvPr/>
        </p:nvSpPr>
        <p:spPr>
          <a:xfrm rot="20310026">
            <a:off x="5612263" y="-109903"/>
            <a:ext cx="517963" cy="430825"/>
          </a:xfrm>
          <a:custGeom>
            <a:avLst/>
            <a:gdLst>
              <a:gd name="connsiteX0" fmla="*/ 0 w 517963"/>
              <a:gd name="connsiteY0" fmla="*/ 0 h 430825"/>
              <a:gd name="connsiteX1" fmla="*/ 517963 w 517963"/>
              <a:gd name="connsiteY1" fmla="*/ 204026 h 430825"/>
              <a:gd name="connsiteX2" fmla="*/ 517963 w 517963"/>
              <a:gd name="connsiteY2" fmla="*/ 430825 h 430825"/>
              <a:gd name="connsiteX3" fmla="*/ 0 w 517963"/>
              <a:gd name="connsiteY3" fmla="*/ 430825 h 4308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963" h="430825">
                <a:moveTo>
                  <a:pt x="0" y="0"/>
                </a:moveTo>
                <a:lnTo>
                  <a:pt x="517963" y="204026"/>
                </a:lnTo>
                <a:lnTo>
                  <a:pt x="517963" y="430825"/>
                </a:lnTo>
                <a:lnTo>
                  <a:pt x="0" y="430825"/>
                </a:lnTo>
                <a:close/>
              </a:path>
            </a:pathLst>
          </a:cu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 l="-65755" t="-43047" r="-33859" b="-20811"/>
            </a:stretch>
          </a:blipFill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18" name="Freeform 18"/>
          <p:cNvSpPr/>
          <p:nvPr/>
        </p:nvSpPr>
        <p:spPr>
          <a:xfrm>
            <a:off x="3849378" y="-4425"/>
            <a:ext cx="631623" cy="506566"/>
          </a:xfrm>
          <a:custGeom>
            <a:avLst/>
            <a:gdLst/>
            <a:ahLst/>
            <a:cxnLst/>
            <a:rect l="l" t="t" r="r" b="b"/>
            <a:pathLst>
              <a:path w="631623" h="700842">
                <a:moveTo>
                  <a:pt x="0" y="0"/>
                </a:moveTo>
                <a:lnTo>
                  <a:pt x="631623" y="0"/>
                </a:lnTo>
                <a:lnTo>
                  <a:pt x="631623" y="700842"/>
                </a:lnTo>
                <a:lnTo>
                  <a:pt x="0" y="700842"/>
                </a:lnTo>
                <a:lnTo>
                  <a:pt x="0" y="0"/>
                </a:lnTo>
                <a:close/>
              </a:path>
            </a:pathLst>
          </a:custGeom>
          <a:blipFill>
            <a:blip r:embed="rId35">
              <a:extLst>
                <a:ext uri="{96DAC541-7B7A-43D3-8B79-37D633B846F1}">
                  <asvg:svgBlip xmlns:asvg="http://schemas.microsoft.com/office/drawing/2016/SVG/main" r:embed="rId36"/>
                </a:ext>
              </a:extLst>
            </a:blip>
            <a:stretch>
              <a:fillRect l="-58042" t="-96199" r="-30634" b="-30501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9" name="Freeform 19"/>
          <p:cNvSpPr/>
          <p:nvPr/>
        </p:nvSpPr>
        <p:spPr>
          <a:xfrm>
            <a:off x="1859049" y="-4426"/>
            <a:ext cx="556275" cy="506566"/>
          </a:xfrm>
          <a:custGeom>
            <a:avLst/>
            <a:gdLst/>
            <a:ahLst/>
            <a:cxnLst/>
            <a:rect l="l" t="t" r="r" b="b"/>
            <a:pathLst>
              <a:path w="556275" h="651636">
                <a:moveTo>
                  <a:pt x="0" y="0"/>
                </a:moveTo>
                <a:lnTo>
                  <a:pt x="556275" y="0"/>
                </a:lnTo>
                <a:lnTo>
                  <a:pt x="556275" y="651637"/>
                </a:lnTo>
                <a:lnTo>
                  <a:pt x="0" y="651637"/>
                </a:lnTo>
                <a:lnTo>
                  <a:pt x="0" y="0"/>
                </a:lnTo>
                <a:close/>
              </a:path>
            </a:pathLst>
          </a:custGeom>
          <a:blipFill>
            <a:blip r:embed="rId37">
              <a:extLs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 l="-59101" t="-88043" r="-37661" b="-20170"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1" name="Freeform 21"/>
          <p:cNvSpPr/>
          <p:nvPr/>
        </p:nvSpPr>
        <p:spPr>
          <a:xfrm>
            <a:off x="331493" y="266309"/>
            <a:ext cx="6897015" cy="10159382"/>
          </a:xfrm>
          <a:custGeom>
            <a:avLst/>
            <a:gdLst/>
            <a:ahLst/>
            <a:cxnLst/>
            <a:rect l="l" t="t" r="r" b="b"/>
            <a:pathLst>
              <a:path w="2471734" h="3640893">
                <a:moveTo>
                  <a:pt x="33675" y="0"/>
                </a:moveTo>
                <a:lnTo>
                  <a:pt x="2438059" y="0"/>
                </a:lnTo>
                <a:cubicBezTo>
                  <a:pt x="2456658" y="0"/>
                  <a:pt x="2471734" y="15077"/>
                  <a:pt x="2471734" y="33675"/>
                </a:cubicBezTo>
                <a:lnTo>
                  <a:pt x="2471734" y="3607218"/>
                </a:lnTo>
                <a:cubicBezTo>
                  <a:pt x="2471734" y="3616149"/>
                  <a:pt x="2468187" y="3624715"/>
                  <a:pt x="2461871" y="3631030"/>
                </a:cubicBezTo>
                <a:cubicBezTo>
                  <a:pt x="2455556" y="3637345"/>
                  <a:pt x="2446991" y="3640893"/>
                  <a:pt x="2438059" y="3640893"/>
                </a:cubicBezTo>
                <a:lnTo>
                  <a:pt x="33675" y="3640893"/>
                </a:lnTo>
                <a:cubicBezTo>
                  <a:pt x="15077" y="3640893"/>
                  <a:pt x="0" y="3625816"/>
                  <a:pt x="0" y="3607218"/>
                </a:cubicBezTo>
                <a:lnTo>
                  <a:pt x="0" y="33675"/>
                </a:lnTo>
                <a:cubicBezTo>
                  <a:pt x="0" y="15077"/>
                  <a:pt x="15077" y="0"/>
                  <a:pt x="33675" y="0"/>
                </a:cubicBezTo>
                <a:close/>
              </a:path>
            </a:pathLst>
          </a:custGeom>
          <a:solidFill>
            <a:srgbClr val="FFFFFF"/>
          </a:solidFill>
          <a:ln w="19050" cap="rnd">
            <a:solidFill>
              <a:srgbClr val="000000"/>
            </a:solidFill>
            <a:prstDash val="solid"/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55" name="AutoShape 55"/>
          <p:cNvSpPr/>
          <p:nvPr/>
        </p:nvSpPr>
        <p:spPr>
          <a:xfrm>
            <a:off x="1050744" y="9510865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6" name="AutoShape 56"/>
          <p:cNvSpPr/>
          <p:nvPr/>
        </p:nvSpPr>
        <p:spPr>
          <a:xfrm>
            <a:off x="1050744" y="9910151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7" name="AutoShape 57"/>
          <p:cNvSpPr/>
          <p:nvPr/>
        </p:nvSpPr>
        <p:spPr>
          <a:xfrm>
            <a:off x="3025932" y="9510865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8" name="AutoShape 58"/>
          <p:cNvSpPr/>
          <p:nvPr/>
        </p:nvSpPr>
        <p:spPr>
          <a:xfrm>
            <a:off x="3025932" y="9910151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9" name="AutoShape 59"/>
          <p:cNvSpPr/>
          <p:nvPr/>
        </p:nvSpPr>
        <p:spPr>
          <a:xfrm>
            <a:off x="5001120" y="9510865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0" name="AutoShape 60"/>
          <p:cNvSpPr/>
          <p:nvPr/>
        </p:nvSpPr>
        <p:spPr>
          <a:xfrm>
            <a:off x="5001120" y="9910151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2" name="Freeform 62"/>
          <p:cNvSpPr/>
          <p:nvPr/>
        </p:nvSpPr>
        <p:spPr>
          <a:xfrm>
            <a:off x="756000" y="8540117"/>
            <a:ext cx="6048000" cy="519712"/>
          </a:xfrm>
          <a:custGeom>
            <a:avLst/>
            <a:gdLst/>
            <a:ahLst/>
            <a:cxnLst/>
            <a:rect l="l" t="t" r="r" b="b"/>
            <a:pathLst>
              <a:path w="2167467" h="186253">
                <a:moveTo>
                  <a:pt x="38402" y="0"/>
                </a:moveTo>
                <a:lnTo>
                  <a:pt x="2129064" y="0"/>
                </a:lnTo>
                <a:cubicBezTo>
                  <a:pt x="2139249" y="0"/>
                  <a:pt x="2149017" y="4046"/>
                  <a:pt x="2156219" y="11248"/>
                </a:cubicBezTo>
                <a:cubicBezTo>
                  <a:pt x="2163421" y="18450"/>
                  <a:pt x="2167467" y="28217"/>
                  <a:pt x="2167467" y="38402"/>
                </a:cubicBezTo>
                <a:lnTo>
                  <a:pt x="2167467" y="147851"/>
                </a:lnTo>
                <a:cubicBezTo>
                  <a:pt x="2167467" y="158035"/>
                  <a:pt x="2163421" y="167803"/>
                  <a:pt x="2156219" y="175005"/>
                </a:cubicBezTo>
                <a:cubicBezTo>
                  <a:pt x="2149017" y="182207"/>
                  <a:pt x="2139249" y="186253"/>
                  <a:pt x="2129064" y="186253"/>
                </a:cubicBezTo>
                <a:lnTo>
                  <a:pt x="38402" y="186253"/>
                </a:lnTo>
                <a:cubicBezTo>
                  <a:pt x="28217" y="186253"/>
                  <a:pt x="18450" y="182207"/>
                  <a:pt x="11248" y="175005"/>
                </a:cubicBezTo>
                <a:cubicBezTo>
                  <a:pt x="4046" y="167803"/>
                  <a:pt x="0" y="158035"/>
                  <a:pt x="0" y="147851"/>
                </a:cubicBezTo>
                <a:lnTo>
                  <a:pt x="0" y="38402"/>
                </a:lnTo>
                <a:cubicBezTo>
                  <a:pt x="0" y="28217"/>
                  <a:pt x="4046" y="18450"/>
                  <a:pt x="11248" y="11248"/>
                </a:cubicBezTo>
                <a:cubicBezTo>
                  <a:pt x="18450" y="4046"/>
                  <a:pt x="28217" y="0"/>
                  <a:pt x="38402" y="0"/>
                </a:cubicBezTo>
                <a:close/>
              </a:path>
            </a:pathLst>
          </a:custGeom>
          <a:solidFill>
            <a:srgbClr val="FFF4BF"/>
          </a:solidFill>
          <a:ln w="19050" cap="rnd">
            <a:solidFill>
              <a:srgbClr val="000000"/>
            </a:solidFill>
            <a:prstDash val="solid"/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64" name="Freeform 64"/>
          <p:cNvSpPr/>
          <p:nvPr/>
        </p:nvSpPr>
        <p:spPr>
          <a:xfrm rot="5400000">
            <a:off x="908976" y="8716162"/>
            <a:ext cx="188146" cy="167621"/>
          </a:xfrm>
          <a:custGeom>
            <a:avLst/>
            <a:gdLst/>
            <a:ahLst/>
            <a:cxnLst/>
            <a:rect l="l" t="t" r="r" b="b"/>
            <a:pathLst>
              <a:path w="188146" h="167621">
                <a:moveTo>
                  <a:pt x="0" y="0"/>
                </a:moveTo>
                <a:lnTo>
                  <a:pt x="188146" y="0"/>
                </a:lnTo>
                <a:lnTo>
                  <a:pt x="188146" y="167621"/>
                </a:lnTo>
                <a:lnTo>
                  <a:pt x="0" y="167621"/>
                </a:lnTo>
                <a:lnTo>
                  <a:pt x="0" y="0"/>
                </a:lnTo>
                <a:close/>
              </a:path>
            </a:pathLst>
          </a:custGeom>
          <a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5" name="TextBox 65"/>
          <p:cNvSpPr txBox="1"/>
          <p:nvPr/>
        </p:nvSpPr>
        <p:spPr>
          <a:xfrm>
            <a:off x="1164686" y="8704723"/>
            <a:ext cx="874083" cy="1950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1559"/>
              </a:lnSpc>
              <a:spcBef>
                <a:spcPct val="0"/>
              </a:spcBef>
            </a:pPr>
            <a:r>
              <a:rPr lang="en-US" sz="1299" b="1" spc="-25" dirty="0">
                <a:solidFill>
                  <a:srgbClr val="000000"/>
                </a:solidFill>
                <a:latin typeface="Cabin" pitchFamily="2" charset="0"/>
              </a:rPr>
              <a:t>Question 4:</a:t>
            </a:r>
          </a:p>
        </p:txBody>
      </p:sp>
      <p:sp>
        <p:nvSpPr>
          <p:cNvPr id="71" name="TextBox 71"/>
          <p:cNvSpPr txBox="1"/>
          <p:nvPr/>
        </p:nvSpPr>
        <p:spPr>
          <a:xfrm>
            <a:off x="2038768" y="8733835"/>
            <a:ext cx="4635082" cy="1470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l">
              <a:lnSpc>
                <a:spcPts val="1199"/>
              </a:lnSpc>
              <a:spcBef>
                <a:spcPct val="0"/>
              </a:spcBef>
            </a:pPr>
            <a:r>
              <a:rPr lang="en-US" sz="999" b="1" spc="-19" dirty="0">
                <a:solidFill>
                  <a:srgbClr val="393939"/>
                </a:solidFill>
                <a:latin typeface="Cabin" pitchFamily="2" charset="0"/>
              </a:rPr>
              <a:t>Create an antonym (a word with the opposite meaning) for each of the vocabulary words</a:t>
            </a:r>
          </a:p>
        </p:txBody>
      </p:sp>
      <p:sp>
        <p:nvSpPr>
          <p:cNvPr id="44" name="AutoShape 44"/>
          <p:cNvSpPr/>
          <p:nvPr/>
        </p:nvSpPr>
        <p:spPr>
          <a:xfrm>
            <a:off x="1050744" y="7746438"/>
            <a:ext cx="1507975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5" name="AutoShape 45"/>
          <p:cNvSpPr/>
          <p:nvPr/>
        </p:nvSpPr>
        <p:spPr>
          <a:xfrm>
            <a:off x="1050744" y="8145724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6" name="AutoShape 46"/>
          <p:cNvSpPr/>
          <p:nvPr/>
        </p:nvSpPr>
        <p:spPr>
          <a:xfrm>
            <a:off x="3025932" y="7746438"/>
            <a:ext cx="1507975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7" name="AutoShape 47"/>
          <p:cNvSpPr/>
          <p:nvPr/>
        </p:nvSpPr>
        <p:spPr>
          <a:xfrm>
            <a:off x="3025932" y="8145724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8" name="AutoShape 48"/>
          <p:cNvSpPr/>
          <p:nvPr/>
        </p:nvSpPr>
        <p:spPr>
          <a:xfrm>
            <a:off x="5001120" y="7746438"/>
            <a:ext cx="1507975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9" name="AutoShape 49"/>
          <p:cNvSpPr/>
          <p:nvPr/>
        </p:nvSpPr>
        <p:spPr>
          <a:xfrm>
            <a:off x="5001120" y="8145724"/>
            <a:ext cx="1508136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51" name="Freeform 51"/>
          <p:cNvSpPr/>
          <p:nvPr/>
        </p:nvSpPr>
        <p:spPr>
          <a:xfrm>
            <a:off x="756000" y="6775690"/>
            <a:ext cx="6048000" cy="519712"/>
          </a:xfrm>
          <a:custGeom>
            <a:avLst/>
            <a:gdLst/>
            <a:ahLst/>
            <a:cxnLst/>
            <a:rect l="l" t="t" r="r" b="b"/>
            <a:pathLst>
              <a:path w="2167467" h="186253">
                <a:moveTo>
                  <a:pt x="38402" y="0"/>
                </a:moveTo>
                <a:lnTo>
                  <a:pt x="2129064" y="0"/>
                </a:lnTo>
                <a:cubicBezTo>
                  <a:pt x="2139249" y="0"/>
                  <a:pt x="2149017" y="4046"/>
                  <a:pt x="2156219" y="11248"/>
                </a:cubicBezTo>
                <a:cubicBezTo>
                  <a:pt x="2163421" y="18450"/>
                  <a:pt x="2167467" y="28217"/>
                  <a:pt x="2167467" y="38402"/>
                </a:cubicBezTo>
                <a:lnTo>
                  <a:pt x="2167467" y="147851"/>
                </a:lnTo>
                <a:cubicBezTo>
                  <a:pt x="2167467" y="158035"/>
                  <a:pt x="2163421" y="167803"/>
                  <a:pt x="2156219" y="175005"/>
                </a:cubicBezTo>
                <a:cubicBezTo>
                  <a:pt x="2149017" y="182207"/>
                  <a:pt x="2139249" y="186253"/>
                  <a:pt x="2129064" y="186253"/>
                </a:cubicBezTo>
                <a:lnTo>
                  <a:pt x="38402" y="186253"/>
                </a:lnTo>
                <a:cubicBezTo>
                  <a:pt x="28217" y="186253"/>
                  <a:pt x="18450" y="182207"/>
                  <a:pt x="11248" y="175005"/>
                </a:cubicBezTo>
                <a:cubicBezTo>
                  <a:pt x="4046" y="167803"/>
                  <a:pt x="0" y="158035"/>
                  <a:pt x="0" y="147851"/>
                </a:cubicBezTo>
                <a:lnTo>
                  <a:pt x="0" y="38402"/>
                </a:lnTo>
                <a:cubicBezTo>
                  <a:pt x="0" y="28217"/>
                  <a:pt x="4046" y="18450"/>
                  <a:pt x="11248" y="11248"/>
                </a:cubicBezTo>
                <a:cubicBezTo>
                  <a:pt x="18450" y="4046"/>
                  <a:pt x="28217" y="0"/>
                  <a:pt x="38402" y="0"/>
                </a:cubicBezTo>
                <a:close/>
              </a:path>
            </a:pathLst>
          </a:custGeom>
          <a:solidFill>
            <a:srgbClr val="FFF4BF"/>
          </a:solidFill>
          <a:ln w="19050" cap="rnd">
            <a:solidFill>
              <a:srgbClr val="000000"/>
            </a:solidFill>
            <a:prstDash val="solid"/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53" name="Freeform 53"/>
          <p:cNvSpPr/>
          <p:nvPr/>
        </p:nvSpPr>
        <p:spPr>
          <a:xfrm rot="5400000">
            <a:off x="908976" y="6951735"/>
            <a:ext cx="188146" cy="167621"/>
          </a:xfrm>
          <a:custGeom>
            <a:avLst/>
            <a:gdLst/>
            <a:ahLst/>
            <a:cxnLst/>
            <a:rect l="l" t="t" r="r" b="b"/>
            <a:pathLst>
              <a:path w="188146" h="167621">
                <a:moveTo>
                  <a:pt x="0" y="0"/>
                </a:moveTo>
                <a:lnTo>
                  <a:pt x="188146" y="0"/>
                </a:lnTo>
                <a:lnTo>
                  <a:pt x="188146" y="167621"/>
                </a:lnTo>
                <a:lnTo>
                  <a:pt x="0" y="167621"/>
                </a:lnTo>
                <a:lnTo>
                  <a:pt x="0" y="0"/>
                </a:lnTo>
                <a:close/>
              </a:path>
            </a:pathLst>
          </a:custGeom>
          <a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4" name="TextBox 54"/>
          <p:cNvSpPr txBox="1"/>
          <p:nvPr/>
        </p:nvSpPr>
        <p:spPr>
          <a:xfrm>
            <a:off x="1164686" y="6940296"/>
            <a:ext cx="784601" cy="1950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1559"/>
              </a:lnSpc>
              <a:spcBef>
                <a:spcPct val="0"/>
              </a:spcBef>
            </a:pPr>
            <a:r>
              <a:rPr lang="en-US" sz="1299" b="1" spc="-25" dirty="0">
                <a:solidFill>
                  <a:srgbClr val="000000"/>
                </a:solidFill>
                <a:latin typeface="Cabin" pitchFamily="2" charset="0"/>
              </a:rPr>
              <a:t>Question 3:</a:t>
            </a:r>
          </a:p>
        </p:txBody>
      </p:sp>
      <p:sp>
        <p:nvSpPr>
          <p:cNvPr id="70" name="TextBox 70"/>
          <p:cNvSpPr txBox="1"/>
          <p:nvPr/>
        </p:nvSpPr>
        <p:spPr>
          <a:xfrm>
            <a:off x="2025486" y="6969408"/>
            <a:ext cx="4611776" cy="1470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l">
              <a:lnSpc>
                <a:spcPts val="1199"/>
              </a:lnSpc>
              <a:spcBef>
                <a:spcPct val="0"/>
              </a:spcBef>
            </a:pPr>
            <a:r>
              <a:rPr lang="en-US" sz="999" b="1" spc="-19" dirty="0">
                <a:solidFill>
                  <a:srgbClr val="393939"/>
                </a:solidFill>
                <a:latin typeface="Cabin" pitchFamily="2" charset="0"/>
              </a:rPr>
              <a:t>Provide a synonym (a word with a similar meaning) for each of the vocabulary words</a:t>
            </a:r>
          </a:p>
        </p:txBody>
      </p:sp>
      <p:sp>
        <p:nvSpPr>
          <p:cNvPr id="37" name="AutoShape 37"/>
          <p:cNvSpPr/>
          <p:nvPr/>
        </p:nvSpPr>
        <p:spPr>
          <a:xfrm>
            <a:off x="1050744" y="5982011"/>
            <a:ext cx="5458511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8" name="AutoShape 38"/>
          <p:cNvSpPr/>
          <p:nvPr/>
        </p:nvSpPr>
        <p:spPr>
          <a:xfrm>
            <a:off x="1050744" y="6381297"/>
            <a:ext cx="5458511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40" name="Freeform 40"/>
          <p:cNvSpPr/>
          <p:nvPr/>
        </p:nvSpPr>
        <p:spPr>
          <a:xfrm>
            <a:off x="756000" y="5011263"/>
            <a:ext cx="6048000" cy="519712"/>
          </a:xfrm>
          <a:custGeom>
            <a:avLst/>
            <a:gdLst/>
            <a:ahLst/>
            <a:cxnLst/>
            <a:rect l="l" t="t" r="r" b="b"/>
            <a:pathLst>
              <a:path w="2167467" h="186253">
                <a:moveTo>
                  <a:pt x="38402" y="0"/>
                </a:moveTo>
                <a:lnTo>
                  <a:pt x="2129064" y="0"/>
                </a:lnTo>
                <a:cubicBezTo>
                  <a:pt x="2139249" y="0"/>
                  <a:pt x="2149017" y="4046"/>
                  <a:pt x="2156219" y="11248"/>
                </a:cubicBezTo>
                <a:cubicBezTo>
                  <a:pt x="2163421" y="18450"/>
                  <a:pt x="2167467" y="28217"/>
                  <a:pt x="2167467" y="38402"/>
                </a:cubicBezTo>
                <a:lnTo>
                  <a:pt x="2167467" y="147851"/>
                </a:lnTo>
                <a:cubicBezTo>
                  <a:pt x="2167467" y="158035"/>
                  <a:pt x="2163421" y="167803"/>
                  <a:pt x="2156219" y="175005"/>
                </a:cubicBezTo>
                <a:cubicBezTo>
                  <a:pt x="2149017" y="182207"/>
                  <a:pt x="2139249" y="186253"/>
                  <a:pt x="2129064" y="186253"/>
                </a:cubicBezTo>
                <a:lnTo>
                  <a:pt x="38402" y="186253"/>
                </a:lnTo>
                <a:cubicBezTo>
                  <a:pt x="28217" y="186253"/>
                  <a:pt x="18450" y="182207"/>
                  <a:pt x="11248" y="175005"/>
                </a:cubicBezTo>
                <a:cubicBezTo>
                  <a:pt x="4046" y="167803"/>
                  <a:pt x="0" y="158035"/>
                  <a:pt x="0" y="147851"/>
                </a:cubicBezTo>
                <a:lnTo>
                  <a:pt x="0" y="38402"/>
                </a:lnTo>
                <a:cubicBezTo>
                  <a:pt x="0" y="28217"/>
                  <a:pt x="4046" y="18450"/>
                  <a:pt x="11248" y="11248"/>
                </a:cubicBezTo>
                <a:cubicBezTo>
                  <a:pt x="18450" y="4046"/>
                  <a:pt x="28217" y="0"/>
                  <a:pt x="38402" y="0"/>
                </a:cubicBezTo>
                <a:close/>
              </a:path>
            </a:pathLst>
          </a:custGeom>
          <a:solidFill>
            <a:srgbClr val="FFF4BF"/>
          </a:solidFill>
          <a:ln w="19050" cap="rnd">
            <a:solidFill>
              <a:srgbClr val="000000"/>
            </a:solidFill>
            <a:prstDash val="solid"/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42" name="Freeform 42"/>
          <p:cNvSpPr/>
          <p:nvPr/>
        </p:nvSpPr>
        <p:spPr>
          <a:xfrm rot="5400000">
            <a:off x="908976" y="5187308"/>
            <a:ext cx="188146" cy="167621"/>
          </a:xfrm>
          <a:custGeom>
            <a:avLst/>
            <a:gdLst/>
            <a:ahLst/>
            <a:cxnLst/>
            <a:rect l="l" t="t" r="r" b="b"/>
            <a:pathLst>
              <a:path w="188146" h="167621">
                <a:moveTo>
                  <a:pt x="0" y="0"/>
                </a:moveTo>
                <a:lnTo>
                  <a:pt x="188146" y="0"/>
                </a:lnTo>
                <a:lnTo>
                  <a:pt x="188146" y="167621"/>
                </a:lnTo>
                <a:lnTo>
                  <a:pt x="0" y="167621"/>
                </a:lnTo>
                <a:lnTo>
                  <a:pt x="0" y="0"/>
                </a:lnTo>
                <a:close/>
              </a:path>
            </a:pathLst>
          </a:custGeom>
          <a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3" name="TextBox 43"/>
          <p:cNvSpPr txBox="1"/>
          <p:nvPr/>
        </p:nvSpPr>
        <p:spPr>
          <a:xfrm>
            <a:off x="1164686" y="5175869"/>
            <a:ext cx="784601" cy="1950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1559"/>
              </a:lnSpc>
              <a:spcBef>
                <a:spcPct val="0"/>
              </a:spcBef>
            </a:pPr>
            <a:r>
              <a:rPr lang="en-US" sz="1299" b="1" spc="-25" dirty="0">
                <a:solidFill>
                  <a:srgbClr val="000000"/>
                </a:solidFill>
                <a:latin typeface="Cabin" pitchFamily="2" charset="0"/>
              </a:rPr>
              <a:t>Question 2:</a:t>
            </a:r>
          </a:p>
        </p:txBody>
      </p:sp>
      <p:sp>
        <p:nvSpPr>
          <p:cNvPr id="69" name="TextBox 69"/>
          <p:cNvSpPr txBox="1"/>
          <p:nvPr/>
        </p:nvSpPr>
        <p:spPr>
          <a:xfrm>
            <a:off x="2025486" y="5211331"/>
            <a:ext cx="4611776" cy="1470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l">
              <a:lnSpc>
                <a:spcPts val="1199"/>
              </a:lnSpc>
              <a:spcBef>
                <a:spcPct val="0"/>
              </a:spcBef>
            </a:pPr>
            <a:r>
              <a:rPr lang="en-US" sz="999" b="1" spc="-19" dirty="0">
                <a:solidFill>
                  <a:srgbClr val="393939"/>
                </a:solidFill>
                <a:latin typeface="Cabin" pitchFamily="2" charset="0"/>
              </a:rPr>
              <a:t>Use one of the vocabulary words in a sentence to demonstrate its proper context</a:t>
            </a:r>
          </a:p>
        </p:txBody>
      </p:sp>
      <p:sp>
        <p:nvSpPr>
          <p:cNvPr id="30" name="AutoShape 30"/>
          <p:cNvSpPr/>
          <p:nvPr/>
        </p:nvSpPr>
        <p:spPr>
          <a:xfrm>
            <a:off x="1050744" y="4217584"/>
            <a:ext cx="5458511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1" name="AutoShape 31"/>
          <p:cNvSpPr/>
          <p:nvPr/>
        </p:nvSpPr>
        <p:spPr>
          <a:xfrm>
            <a:off x="1050744" y="4616870"/>
            <a:ext cx="5458511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33" name="Freeform 33"/>
          <p:cNvSpPr/>
          <p:nvPr/>
        </p:nvSpPr>
        <p:spPr>
          <a:xfrm>
            <a:off x="756000" y="3246836"/>
            <a:ext cx="6048000" cy="519712"/>
          </a:xfrm>
          <a:custGeom>
            <a:avLst/>
            <a:gdLst/>
            <a:ahLst/>
            <a:cxnLst/>
            <a:rect l="l" t="t" r="r" b="b"/>
            <a:pathLst>
              <a:path w="2167467" h="186253">
                <a:moveTo>
                  <a:pt x="38402" y="0"/>
                </a:moveTo>
                <a:lnTo>
                  <a:pt x="2129064" y="0"/>
                </a:lnTo>
                <a:cubicBezTo>
                  <a:pt x="2139249" y="0"/>
                  <a:pt x="2149017" y="4046"/>
                  <a:pt x="2156219" y="11248"/>
                </a:cubicBezTo>
                <a:cubicBezTo>
                  <a:pt x="2163421" y="18450"/>
                  <a:pt x="2167467" y="28217"/>
                  <a:pt x="2167467" y="38402"/>
                </a:cubicBezTo>
                <a:lnTo>
                  <a:pt x="2167467" y="147851"/>
                </a:lnTo>
                <a:cubicBezTo>
                  <a:pt x="2167467" y="158035"/>
                  <a:pt x="2163421" y="167803"/>
                  <a:pt x="2156219" y="175005"/>
                </a:cubicBezTo>
                <a:cubicBezTo>
                  <a:pt x="2149017" y="182207"/>
                  <a:pt x="2139249" y="186253"/>
                  <a:pt x="2129064" y="186253"/>
                </a:cubicBezTo>
                <a:lnTo>
                  <a:pt x="38402" y="186253"/>
                </a:lnTo>
                <a:cubicBezTo>
                  <a:pt x="28217" y="186253"/>
                  <a:pt x="18450" y="182207"/>
                  <a:pt x="11248" y="175005"/>
                </a:cubicBezTo>
                <a:cubicBezTo>
                  <a:pt x="4046" y="167803"/>
                  <a:pt x="0" y="158035"/>
                  <a:pt x="0" y="147851"/>
                </a:cubicBezTo>
                <a:lnTo>
                  <a:pt x="0" y="38402"/>
                </a:lnTo>
                <a:cubicBezTo>
                  <a:pt x="0" y="28217"/>
                  <a:pt x="4046" y="18450"/>
                  <a:pt x="11248" y="11248"/>
                </a:cubicBezTo>
                <a:cubicBezTo>
                  <a:pt x="18450" y="4046"/>
                  <a:pt x="28217" y="0"/>
                  <a:pt x="38402" y="0"/>
                </a:cubicBezTo>
                <a:close/>
              </a:path>
            </a:pathLst>
          </a:custGeom>
          <a:solidFill>
            <a:srgbClr val="FFF4BF"/>
          </a:solidFill>
          <a:ln w="19050" cap="rnd">
            <a:solidFill>
              <a:srgbClr val="000000"/>
            </a:solidFill>
            <a:prstDash val="solid"/>
            <a:round/>
          </a:ln>
        </p:spPr>
        <p:txBody>
          <a:bodyPr/>
          <a:lstStyle/>
          <a:p>
            <a:endParaRPr lang="en-US"/>
          </a:p>
        </p:txBody>
      </p:sp>
      <p:sp>
        <p:nvSpPr>
          <p:cNvPr id="35" name="Freeform 35"/>
          <p:cNvSpPr/>
          <p:nvPr/>
        </p:nvSpPr>
        <p:spPr>
          <a:xfrm rot="5400000">
            <a:off x="908976" y="3422882"/>
            <a:ext cx="188146" cy="167621"/>
          </a:xfrm>
          <a:custGeom>
            <a:avLst/>
            <a:gdLst/>
            <a:ahLst/>
            <a:cxnLst/>
            <a:rect l="l" t="t" r="r" b="b"/>
            <a:pathLst>
              <a:path w="188146" h="167621">
                <a:moveTo>
                  <a:pt x="0" y="0"/>
                </a:moveTo>
                <a:lnTo>
                  <a:pt x="188146" y="0"/>
                </a:lnTo>
                <a:lnTo>
                  <a:pt x="188146" y="167621"/>
                </a:lnTo>
                <a:lnTo>
                  <a:pt x="0" y="167621"/>
                </a:lnTo>
                <a:lnTo>
                  <a:pt x="0" y="0"/>
                </a:lnTo>
                <a:close/>
              </a:path>
            </a:pathLst>
          </a:custGeom>
          <a:blipFill>
            <a:blip r:embed="rId39">
              <a:extLs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36"/>
          <p:cNvSpPr txBox="1"/>
          <p:nvPr/>
        </p:nvSpPr>
        <p:spPr>
          <a:xfrm>
            <a:off x="1164686" y="3409166"/>
            <a:ext cx="784601" cy="19505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1559"/>
              </a:lnSpc>
              <a:spcBef>
                <a:spcPct val="0"/>
              </a:spcBef>
            </a:pPr>
            <a:r>
              <a:rPr lang="en-US" sz="1299" b="1" spc="-25" dirty="0">
                <a:solidFill>
                  <a:srgbClr val="000000"/>
                </a:solidFill>
                <a:latin typeface="Cabin" pitchFamily="2" charset="0"/>
              </a:rPr>
              <a:t>Question 1:</a:t>
            </a:r>
          </a:p>
        </p:txBody>
      </p:sp>
      <p:sp>
        <p:nvSpPr>
          <p:cNvPr id="68" name="TextBox 68"/>
          <p:cNvSpPr txBox="1"/>
          <p:nvPr/>
        </p:nvSpPr>
        <p:spPr>
          <a:xfrm>
            <a:off x="2025486" y="3440395"/>
            <a:ext cx="4611776" cy="14709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0" lvl="0" indent="0" algn="l">
              <a:lnSpc>
                <a:spcPts val="1199"/>
              </a:lnSpc>
              <a:spcBef>
                <a:spcPct val="0"/>
              </a:spcBef>
            </a:pPr>
            <a:r>
              <a:rPr lang="en-US" sz="999" b="1" spc="-19" dirty="0">
                <a:solidFill>
                  <a:srgbClr val="393939"/>
                </a:solidFill>
                <a:latin typeface="Cabin" pitchFamily="2" charset="0"/>
              </a:rPr>
              <a:t>Write down the vocabulary words we learned today and their meanings</a:t>
            </a:r>
          </a:p>
        </p:txBody>
      </p:sp>
      <p:sp>
        <p:nvSpPr>
          <p:cNvPr id="28" name="AutoShape 28"/>
          <p:cNvSpPr/>
          <p:nvPr/>
        </p:nvSpPr>
        <p:spPr>
          <a:xfrm flipV="1">
            <a:off x="2158002" y="2851544"/>
            <a:ext cx="4645998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9" name="TextBox 29"/>
          <p:cNvSpPr txBox="1"/>
          <p:nvPr/>
        </p:nvSpPr>
        <p:spPr>
          <a:xfrm>
            <a:off x="756000" y="2694963"/>
            <a:ext cx="2415053" cy="156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lvl="0" indent="0" algn="l">
              <a:lnSpc>
                <a:spcPts val="1247"/>
              </a:lnSpc>
              <a:spcBef>
                <a:spcPct val="0"/>
              </a:spcBef>
            </a:pPr>
            <a:r>
              <a:rPr lang="en-US" sz="1299" b="1" u="none" strike="noStrike" dirty="0">
                <a:solidFill>
                  <a:srgbClr val="000000"/>
                </a:solidFill>
                <a:latin typeface="Cabin" pitchFamily="2" charset="0"/>
              </a:rPr>
              <a:t>Vocabulary Lesson: </a:t>
            </a:r>
          </a:p>
        </p:txBody>
      </p:sp>
      <p:sp>
        <p:nvSpPr>
          <p:cNvPr id="27" name="TextBox 27"/>
          <p:cNvSpPr txBox="1"/>
          <p:nvPr/>
        </p:nvSpPr>
        <p:spPr>
          <a:xfrm>
            <a:off x="1699095" y="1412842"/>
            <a:ext cx="4158311" cy="8683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3359"/>
              </a:lnSpc>
            </a:pPr>
            <a:r>
              <a:rPr lang="en-US" sz="3499" dirty="0">
                <a:solidFill>
                  <a:srgbClr val="000000"/>
                </a:solidFill>
                <a:latin typeface="Dosis ExtraBold" pitchFamily="2" charset="0"/>
              </a:rPr>
              <a:t>VOCABULARY EXIT TICKET TEMPLATE</a:t>
            </a:r>
          </a:p>
        </p:txBody>
      </p:sp>
      <p:sp>
        <p:nvSpPr>
          <p:cNvPr id="23" name="TextBox 23"/>
          <p:cNvSpPr txBox="1"/>
          <p:nvPr/>
        </p:nvSpPr>
        <p:spPr>
          <a:xfrm>
            <a:off x="754250" y="800899"/>
            <a:ext cx="1281283" cy="156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247"/>
              </a:lnSpc>
            </a:pPr>
            <a:r>
              <a:rPr lang="en-US" sz="1299" b="1" dirty="0">
                <a:solidFill>
                  <a:srgbClr val="000000"/>
                </a:solidFill>
                <a:latin typeface="Cabin" pitchFamily="2" charset="0"/>
              </a:rPr>
              <a:t>Student Name: </a:t>
            </a:r>
          </a:p>
        </p:txBody>
      </p:sp>
      <p:sp>
        <p:nvSpPr>
          <p:cNvPr id="24" name="TextBox 24"/>
          <p:cNvSpPr txBox="1"/>
          <p:nvPr/>
        </p:nvSpPr>
        <p:spPr>
          <a:xfrm>
            <a:off x="4414224" y="800899"/>
            <a:ext cx="1281283" cy="15658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247"/>
              </a:lnSpc>
            </a:pPr>
            <a:r>
              <a:rPr lang="en-US" sz="1299" b="1" dirty="0">
                <a:solidFill>
                  <a:srgbClr val="000000"/>
                </a:solidFill>
                <a:latin typeface="Cabin" pitchFamily="2" charset="0"/>
              </a:rPr>
              <a:t>Date:</a:t>
            </a:r>
          </a:p>
        </p:txBody>
      </p:sp>
      <p:sp>
        <p:nvSpPr>
          <p:cNvPr id="25" name="AutoShape 25"/>
          <p:cNvSpPr/>
          <p:nvPr/>
        </p:nvSpPr>
        <p:spPr>
          <a:xfrm>
            <a:off x="1910480" y="957480"/>
            <a:ext cx="2412958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26" name="AutoShape 26"/>
          <p:cNvSpPr/>
          <p:nvPr/>
        </p:nvSpPr>
        <p:spPr>
          <a:xfrm>
            <a:off x="4893612" y="957480"/>
            <a:ext cx="1908638" cy="0"/>
          </a:xfrm>
          <a:prstGeom prst="line">
            <a:avLst/>
          </a:prstGeom>
          <a:ln w="19050" cap="flat">
            <a:solidFill>
              <a:srgbClr val="000000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en-US"/>
          </a:p>
        </p:txBody>
      </p:sp>
      <p:sp>
        <p:nvSpPr>
          <p:cNvPr id="66" name="TemplateLAB"/>
          <p:cNvSpPr/>
          <p:nvPr/>
        </p:nvSpPr>
        <p:spPr>
          <a:xfrm rot="5400000">
            <a:off x="6607205" y="1747356"/>
            <a:ext cx="748190" cy="123451"/>
          </a:xfrm>
          <a:custGeom>
            <a:avLst/>
            <a:gdLst/>
            <a:ahLst/>
            <a:cxnLst/>
            <a:rect l="l" t="t" r="r" b="b"/>
            <a:pathLst>
              <a:path w="748190" h="123451">
                <a:moveTo>
                  <a:pt x="0" y="0"/>
                </a:moveTo>
                <a:lnTo>
                  <a:pt x="748190" y="0"/>
                </a:lnTo>
                <a:lnTo>
                  <a:pt x="748190" y="123451"/>
                </a:lnTo>
                <a:lnTo>
                  <a:pt x="0" y="123451"/>
                </a:lnTo>
                <a:lnTo>
                  <a:pt x="0" y="0"/>
                </a:lnTo>
                <a:close/>
              </a:path>
            </a:pathLst>
          </a:custGeom>
          <a:blipFill>
            <a:blip r:embed="rId41">
              <a:extLst>
                <a:ext uri="{96DAC541-7B7A-43D3-8B79-37D633B846F1}">
                  <asvg:svgBlip xmlns:asvg="http://schemas.microsoft.com/office/drawing/2016/SVG/main" r:embed="rId4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91</TotalTime>
  <Words>83</Words>
  <Application>Microsoft Office PowerPoint</Application>
  <PresentationFormat>Custom</PresentationFormat>
  <Paragraphs>12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Cabin</vt:lpstr>
      <vt:lpstr>Dosis ExtraBold</vt:lpstr>
      <vt:lpstr>Arial</vt:lpstr>
      <vt:lpstr>Calibri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xit Ticket (Portrait)</dc:title>
  <dc:creator>Hoang Anh</dc:creator>
  <cp:lastModifiedBy>Hoang Anh</cp:lastModifiedBy>
  <cp:revision>13</cp:revision>
  <dcterms:created xsi:type="dcterms:W3CDTF">2006-08-16T00:00:00Z</dcterms:created>
  <dcterms:modified xsi:type="dcterms:W3CDTF">2023-09-29T11:13:00Z</dcterms:modified>
  <dc:identifier>DAFvahlxRyY</dc:identifier>
</cp:coreProperties>
</file>